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8"/>
  </p:notesMasterIdLst>
  <p:sldIdLst>
    <p:sldId id="578" r:id="rId5"/>
    <p:sldId id="579" r:id="rId6"/>
    <p:sldId id="262" r:id="rId7"/>
  </p:sldIdLst>
  <p:sldSz cx="12192000" cy="6858000"/>
  <p:notesSz cx="6858000" cy="9144000"/>
  <p:custDataLst>
    <p:tags r:id="rId9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634C4D29-6CC3-4140-BB11-585F74AA4016}">
          <p14:sldIdLst>
            <p14:sldId id="578"/>
            <p14:sldId id="579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560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LVANI Francoise" userId="fccc5fa0-20ab-4ae9-abc3-2e6131eee816" providerId="ADAL" clId="{8EDBC040-0D3F-4ADA-9CCC-4B7789F39A03}"/>
    <pc:docChg chg="delSld modSld modSection">
      <pc:chgData name="SILVANI Francoise" userId="fccc5fa0-20ab-4ae9-abc3-2e6131eee816" providerId="ADAL" clId="{8EDBC040-0D3F-4ADA-9CCC-4B7789F39A03}" dt="2023-02-06T21:00:13.877" v="21" actId="20577"/>
      <pc:docMkLst>
        <pc:docMk/>
      </pc:docMkLst>
      <pc:sldChg chg="modSp mod">
        <pc:chgData name="SILVANI Francoise" userId="fccc5fa0-20ab-4ae9-abc3-2e6131eee816" providerId="ADAL" clId="{8EDBC040-0D3F-4ADA-9CCC-4B7789F39A03}" dt="2023-02-06T21:00:13.877" v="21" actId="20577"/>
        <pc:sldMkLst>
          <pc:docMk/>
          <pc:sldMk cId="1421726990" sldId="579"/>
        </pc:sldMkLst>
        <pc:spChg chg="mod">
          <ac:chgData name="SILVANI Francoise" userId="fccc5fa0-20ab-4ae9-abc3-2e6131eee816" providerId="ADAL" clId="{8EDBC040-0D3F-4ADA-9CCC-4B7789F39A03}" dt="2023-02-06T21:00:13.877" v="21" actId="20577"/>
          <ac:spMkLst>
            <pc:docMk/>
            <pc:sldMk cId="1421726990" sldId="579"/>
            <ac:spMk id="10" creationId="{4BE21CD9-3DF6-9830-9E5F-102A4D54A473}"/>
          </ac:spMkLst>
        </pc:spChg>
      </pc:sldChg>
      <pc:sldChg chg="del">
        <pc:chgData name="SILVANI Francoise" userId="fccc5fa0-20ab-4ae9-abc3-2e6131eee816" providerId="ADAL" clId="{8EDBC040-0D3F-4ADA-9CCC-4B7789F39A03}" dt="2023-02-06T20:56:54.174" v="0" actId="47"/>
        <pc:sldMkLst>
          <pc:docMk/>
          <pc:sldMk cId="1656739537" sldId="580"/>
        </pc:sldMkLst>
      </pc:sldChg>
    </pc:docChg>
  </pc:docChgLst>
  <pc:docChgLst>
    <pc:chgData name="Konstantin Glukhenkiy" userId="24b49d37-c936-4e44-8fab-4bfac34f62f4" providerId="ADAL" clId="{9774543A-F37A-4FE5-AB26-7D57B20A1E6F}"/>
    <pc:docChg chg="modSld">
      <pc:chgData name="Konstantin Glukhenkiy" userId="24b49d37-c936-4e44-8fab-4bfac34f62f4" providerId="ADAL" clId="{9774543A-F37A-4FE5-AB26-7D57B20A1E6F}" dt="2023-02-07T08:44:22.041" v="3" actId="6549"/>
      <pc:docMkLst>
        <pc:docMk/>
      </pc:docMkLst>
      <pc:sldChg chg="modSp mod">
        <pc:chgData name="Konstantin Glukhenkiy" userId="24b49d37-c936-4e44-8fab-4bfac34f62f4" providerId="ADAL" clId="{9774543A-F37A-4FE5-AB26-7D57B20A1E6F}" dt="2023-02-07T08:44:22.041" v="3" actId="6549"/>
        <pc:sldMkLst>
          <pc:docMk/>
          <pc:sldMk cId="1800087834" sldId="578"/>
        </pc:sldMkLst>
        <pc:spChg chg="mod">
          <ac:chgData name="Konstantin Glukhenkiy" userId="24b49d37-c936-4e44-8fab-4bfac34f62f4" providerId="ADAL" clId="{9774543A-F37A-4FE5-AB26-7D57B20A1E6F}" dt="2023-02-07T08:44:22.041" v="3" actId="6549"/>
          <ac:spMkLst>
            <pc:docMk/>
            <pc:sldMk cId="1800087834" sldId="578"/>
            <ac:spMk id="5" creationId="{F6FC4AF4-E468-4466-AB2F-DF925A5E6D8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3ED2D-D42F-4B93-B650-26CC799E01CE}" type="datetimeFigureOut">
              <a:rPr lang="sv-SE" smtClean="0"/>
              <a:t>2023-02-07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8481F3-3343-4D9C-8634-45E1E7B344D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417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481F3-3343-4D9C-8634-45E1E7B344D1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3987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CB70D-A39C-4C76-A438-4B53D8C96F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562F21-6CF2-40D0-8EB8-DFEB9D3571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7C0B69-121C-4AF3-A136-063A3A044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89381-AA69-4583-B338-761E2434C0DF}" type="datetime1">
              <a:rPr lang="nb-NO" smtClean="0"/>
              <a:t>07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2FF27A-6240-49CE-83E8-931F92D6B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65679-2400-47D9-8B9C-7520953E9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2083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5A5F47-39B1-4C72-B165-2D7431BE9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5A6374-4C1C-4BEE-BFF7-353EC02BCA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C40D8-911F-4A93-9361-6F32D3080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C277B5-9E8B-4401-9287-0EBB494EB9CF}" type="datetime1">
              <a:rPr lang="nb-NO" smtClean="0"/>
              <a:t>07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5C8629-6B84-476F-B926-DF6D04FBE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601A4-58B2-4E65-A754-94DAC5FF6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4181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F7DE1D5-5C61-4CE1-A17D-1249E36390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32CE30-2BBA-4DF6-BF49-217954B4A8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999059-2D82-4328-88D4-DA2AB9036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FB749-B0ED-4187-9D4C-C93D7969D470}" type="datetime1">
              <a:rPr lang="nb-NO" smtClean="0"/>
              <a:t>07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49680-5972-4ADA-B095-092724990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CEE30-1D3C-46AE-A908-8856AB7BC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5639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97696-9543-4A3A-B7D9-000D2E83C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8788D-5574-43F5-9F6C-987CFE663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43F4B-5A56-4C7F-96A6-2B1E6A5EC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0F13C-9117-453B-94B1-8999B3597591}" type="datetime1">
              <a:rPr lang="nb-NO" smtClean="0"/>
              <a:t>07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8DE35-7008-4358-A06A-D9624B70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DB03E-9ADE-42C7-8B9C-4C09A3266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9413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5B7BE-6E2B-4E1D-A2F7-23FB298A0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7F01D1-E2BB-43FF-9B38-171F98713D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165D2-DD4D-4A97-9AB1-BAE37B019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2C9E2-18D6-4B78-B542-17BDAFCA2AFD}" type="datetime1">
              <a:rPr lang="nb-NO" smtClean="0"/>
              <a:t>07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2D925-19F1-4025-8D19-130D671E7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84A33-8D6F-4163-8A99-8B877C086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7306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740DB-BA4D-4162-B85C-85C6DA55D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411E80-829D-451C-8BB1-16AACA9991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DBA9A3-B577-4234-BF30-385835ABD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F6EEBE-326C-4B08-A8D6-A1989A13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D7ED75-BF32-4D41-9A09-AEEDADF407D0}" type="datetime1">
              <a:rPr lang="nb-NO" smtClean="0"/>
              <a:t>07.02.2023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CA11EC-18F4-4535-A537-4039B597B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D68B72-99C7-4603-99B8-B75F162B1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2789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ADA4-C8A8-479F-A791-59D90A439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B4130F-CE19-46B0-9E1B-7CF3FF3EF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13648-48EA-4E94-BC61-C536EF3B41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4FC35C-F78F-48EA-97E5-DF2C8997F7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C18F0-0D56-44A5-832D-7B0F6BD7F5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6E2B4F-A7B9-4DF0-A57E-A6C385F67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17355-B70A-42D7-9570-98A917CBA393}" type="datetime1">
              <a:rPr lang="nb-NO" smtClean="0"/>
              <a:t>07.02.2023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136CFE-1A00-4632-97B2-BD07F67E5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3264AC-8820-404E-B12E-3E060F0F2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081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D8334-B522-4F7C-88E0-1F8517BB3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A66A47-6DC4-4241-80E6-84493F07A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E9888-E330-48E6-B4E8-F3F424C4B937}" type="datetime1">
              <a:rPr lang="nb-NO" smtClean="0"/>
              <a:t>07.02.2023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B670F2-E3A0-4EB0-ADC5-8395100BD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FF0FAA-8058-4F59-A716-10178AACE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51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62BD31-CDB5-46C8-A478-2F02B13B0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FE150-D5C5-4C22-8A62-9F1556A4DCC5}" type="datetime1">
              <a:rPr lang="nb-NO" smtClean="0"/>
              <a:t>07.02.2023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0865E7-05B0-406D-AF05-2CE413A0C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487D15-63F9-4488-8842-AC430B751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0494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E648A-4419-4F69-B88E-ADBF5F30F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C44B20-25BE-4AF5-A8A8-BCB7E5A5F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A8423F-8552-4CE2-87E9-5E0F2C300F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3C782-29F3-4A70-89B7-1DC794298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E6A92-3D05-4BF7-B97B-9704CDA99AE0}" type="datetime1">
              <a:rPr lang="nb-NO" smtClean="0"/>
              <a:t>07.02.2023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4493-8645-4228-A6BE-837D6999C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32DD1-2AEC-4081-9AFB-7AE43071F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3055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ED793-E951-4CEB-A461-F9BD234E7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5D0399-7B58-483D-A217-B2FBFD7993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C158AC-7B22-4B84-BEB8-A101AFDCD4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7A437D-6B6C-46C1-88C4-214A27140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2E7EC-9A81-4371-AD0D-D0E48E9864BA}" type="datetime1">
              <a:rPr lang="nb-NO" smtClean="0"/>
              <a:t>07.02.2023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1C463F-6373-41D5-8ABC-CFC4CE9C8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D0C45-6B4F-43C8-816D-865BE785A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8094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A45714-C7CA-4F4C-A785-ACEBD6571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3935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00" imgH="396" progId="TCLayout.ActiveDocument.1">
                  <p:embed/>
                </p:oleObj>
              </mc:Choice>
              <mc:Fallback>
                <p:oleObj name="think-cell Folie" r:id="rId14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A45714-C7CA-4F4C-A785-ACEBD6571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CE731D-847D-4A65-9DC6-317058EA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B6B95-938C-4D59-B086-BB193DF4C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A4DB8D-25B7-49E5-B7FF-83E0530F4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5F6F82-AE2E-4D13-96F7-A569B3B4EB67}" type="datetime1">
              <a:rPr lang="nb-NO" smtClean="0"/>
              <a:t>07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31C3C-2AAF-42C9-AB3E-1234F99DB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ED5C54-F4F3-408F-AC93-685674D947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918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2481ED-B8BA-4D76-A346-93BF1D6177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178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2481ED-B8BA-4D76-A346-93BF1D617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GRBP/2023/12 &amp; GRBP-77-05</a:t>
            </a:r>
            <a:br>
              <a:rPr lang="en-GB" sz="4000" b="1" dirty="0"/>
            </a:br>
            <a:r>
              <a:rPr lang="en-GB" sz="4000" b="1" dirty="0"/>
              <a:t>EXPLAN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GB" sz="2000" i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2616F-596B-4CAC-BB2D-DE6D591EC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1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4940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IWG-MU, IWG-ASEP &amp; ISO exper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8557409" y="283566"/>
            <a:ext cx="3488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/>
              <a:t>Informal </a:t>
            </a:r>
            <a:r>
              <a:rPr lang="en-GB"/>
              <a:t>Document GRBP-77-26</a:t>
            </a:r>
            <a:endParaRPr lang="en-GB" b="1" strike="dblStrike" dirty="0">
              <a:solidFill>
                <a:srgbClr val="FF0000"/>
              </a:solidFill>
            </a:endParaRPr>
          </a:p>
          <a:p>
            <a:pPr algn="r"/>
            <a:r>
              <a:rPr lang="en-GB" dirty="0"/>
              <a:t>77</a:t>
            </a:r>
            <a:r>
              <a:rPr lang="en-GB" baseline="30000" dirty="0"/>
              <a:t>th</a:t>
            </a:r>
            <a:r>
              <a:rPr lang="en-GB" dirty="0"/>
              <a:t>  GRBP, February 07-10, 2023, </a:t>
            </a:r>
          </a:p>
          <a:p>
            <a:pPr algn="r"/>
            <a:r>
              <a:rPr lang="en-GB" dirty="0"/>
              <a:t>Agenda item 3</a:t>
            </a:r>
          </a:p>
        </p:txBody>
      </p:sp>
    </p:spTree>
    <p:extLst>
      <p:ext uri="{BB962C8B-B14F-4D97-AF65-F5344CB8AC3E}">
        <p14:creationId xmlns:p14="http://schemas.microsoft.com/office/powerpoint/2010/main" val="1800087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9BC95D6-76E9-0AD5-4DD7-236574F3E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75" y="241300"/>
            <a:ext cx="11706225" cy="793115"/>
          </a:xfrm>
        </p:spPr>
        <p:txBody>
          <a:bodyPr>
            <a:normAutofit fontScale="90000"/>
          </a:bodyPr>
          <a:lstStyle/>
          <a:p>
            <a:r>
              <a:rPr lang="fr-FR" sz="3600" b="1" dirty="0"/>
              <a:t>Organisation of the documents for the </a:t>
            </a:r>
            <a:r>
              <a:rPr lang="fr-FR" sz="3600" b="1" dirty="0" err="1"/>
              <a:t>Supplement</a:t>
            </a:r>
            <a:r>
              <a:rPr lang="fr-FR" sz="3600" b="1" dirty="0"/>
              <a:t> 8 to the UN-R51-03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DB007A7-8374-B017-F53D-37E770217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2</a:t>
            </a:fld>
            <a:endParaRPr lang="nb-NO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56B28F-A1A5-5513-D07D-4B38FE7F499A}"/>
              </a:ext>
            </a:extLst>
          </p:cNvPr>
          <p:cNvSpPr/>
          <p:nvPr/>
        </p:nvSpPr>
        <p:spPr>
          <a:xfrm>
            <a:off x="9336808" y="1158239"/>
            <a:ext cx="2264228" cy="4382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/>
              <a:t>WP.29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6A8922-21EA-E17B-01CD-3DD445DAF50B}"/>
              </a:ext>
            </a:extLst>
          </p:cNvPr>
          <p:cNvSpPr/>
          <p:nvPr/>
        </p:nvSpPr>
        <p:spPr>
          <a:xfrm>
            <a:off x="1789883" y="1889761"/>
            <a:ext cx="6032863" cy="141541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</a:rPr>
              <a:t>GRBP/2022/16 (IWG-MU) amended by GRBP-76-09 (IWG-MU): especially to take into account specificities of </a:t>
            </a:r>
            <a:r>
              <a:rPr lang="en-US" b="1" dirty="0" err="1">
                <a:solidFill>
                  <a:schemeClr val="tx1"/>
                </a:solidFill>
              </a:rPr>
              <a:t>xEV</a:t>
            </a:r>
            <a:endParaRPr lang="en-US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</a:rPr>
              <a:t>+ GRBP/2022/13 (ISO): test track ISO 10844:2021</a:t>
            </a:r>
            <a:endParaRPr lang="fr-FR" b="1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8A284F-8781-64B6-37AF-8B0AC4681A68}"/>
              </a:ext>
            </a:extLst>
          </p:cNvPr>
          <p:cNvSpPr/>
          <p:nvPr/>
        </p:nvSpPr>
        <p:spPr>
          <a:xfrm>
            <a:off x="5362552" y="4162426"/>
            <a:ext cx="2460193" cy="22669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bg1">
                    <a:lumMod val="50000"/>
                  </a:schemeClr>
                </a:solidFill>
              </a:rPr>
              <a:t>GRBP-77-05 (IWG-MU, IWG-ASEP, ISO experts</a:t>
            </a:r>
            <a:r>
              <a:rPr lang="fr-FR" b="1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) </a:t>
            </a:r>
            <a:r>
              <a:rPr lang="fr-FR" b="1" dirty="0" err="1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Consolidated</a:t>
            </a:r>
            <a:r>
              <a:rPr lang="fr-FR" b="1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version of </a:t>
            </a:r>
            <a:r>
              <a:rPr lang="fr-FR" b="1" dirty="0" err="1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Supplement</a:t>
            </a:r>
            <a:r>
              <a:rPr lang="fr-FR" b="1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8 </a:t>
            </a:r>
            <a:r>
              <a:rPr lang="fr-FR" b="1" dirty="0" err="1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including</a:t>
            </a:r>
            <a:r>
              <a:rPr lang="fr-FR" b="1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the corrections </a:t>
            </a:r>
            <a:r>
              <a:rPr lang="fr-FR" b="1" dirty="0" err="1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from</a:t>
            </a:r>
            <a:r>
              <a:rPr lang="fr-FR" b="1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GRBP/2023/12 as </a:t>
            </a:r>
            <a:r>
              <a:rPr lang="fr-FR" b="1" dirty="0" err="1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highlighted</a:t>
            </a:r>
            <a:endParaRPr lang="fr-FR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CA382-5D9D-891F-4B07-B01F5298DEE6}"/>
              </a:ext>
            </a:extLst>
          </p:cNvPr>
          <p:cNvSpPr/>
          <p:nvPr/>
        </p:nvSpPr>
        <p:spPr>
          <a:xfrm>
            <a:off x="1789882" y="1158239"/>
            <a:ext cx="6032863" cy="5399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/>
              <a:t>GRB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4EC00E-A1FA-536F-6BCE-158299F864C4}"/>
              </a:ext>
            </a:extLst>
          </p:cNvPr>
          <p:cNvSpPr/>
          <p:nvPr/>
        </p:nvSpPr>
        <p:spPr>
          <a:xfrm>
            <a:off x="1027885" y="1875333"/>
            <a:ext cx="486590" cy="14298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b="1" dirty="0"/>
              <a:t>GRBP-76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5EBDE8-3865-29E2-2671-2D2FC5C53CD8}"/>
              </a:ext>
            </a:extLst>
          </p:cNvPr>
          <p:cNvSpPr/>
          <p:nvPr/>
        </p:nvSpPr>
        <p:spPr>
          <a:xfrm>
            <a:off x="1027885" y="4162426"/>
            <a:ext cx="486590" cy="22669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b="1" dirty="0"/>
              <a:t>GRBP-7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BE21CD9-3DF6-9830-9E5F-102A4D54A473}"/>
              </a:ext>
            </a:extLst>
          </p:cNvPr>
          <p:cNvSpPr/>
          <p:nvPr/>
        </p:nvSpPr>
        <p:spPr>
          <a:xfrm>
            <a:off x="9336808" y="1889759"/>
            <a:ext cx="2302328" cy="45396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WP.29/2023/2 (GRBP) for WP.29 March 2023</a:t>
            </a:r>
          </a:p>
          <a:p>
            <a:pPr algn="ctr"/>
            <a:r>
              <a:rPr lang="fr-FR" b="1" dirty="0">
                <a:solidFill>
                  <a:schemeClr val="bg1">
                    <a:lumMod val="75000"/>
                  </a:schemeClr>
                </a:solidFill>
              </a:rPr>
              <a:t>=GRBP-77-05 </a:t>
            </a:r>
          </a:p>
          <a:p>
            <a:pPr algn="ctr"/>
            <a:r>
              <a:rPr lang="fr-FR" b="1" dirty="0">
                <a:solidFill>
                  <a:schemeClr val="bg1">
                    <a:lumMod val="75000"/>
                  </a:schemeClr>
                </a:solidFill>
              </a:rPr>
              <a:t>Suppl. 8 </a:t>
            </a:r>
            <a:r>
              <a:rPr lang="fr-FR" b="1" dirty="0" err="1">
                <a:solidFill>
                  <a:schemeClr val="bg1">
                    <a:lumMod val="75000"/>
                  </a:schemeClr>
                </a:solidFill>
              </a:rPr>
              <a:t>consolidated</a:t>
            </a:r>
            <a:endParaRPr lang="fr-FR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8F76DF-DA15-C781-AC6C-DA45B3565671}"/>
              </a:ext>
            </a:extLst>
          </p:cNvPr>
          <p:cNvSpPr/>
          <p:nvPr/>
        </p:nvSpPr>
        <p:spPr>
          <a:xfrm>
            <a:off x="1809338" y="4162426"/>
            <a:ext cx="2648362" cy="226694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chemeClr val="tx1"/>
                </a:solidFill>
              </a:rPr>
              <a:t>GRBP/2023/12 (IWG-MU, IWG-ASEP, ISO experts)</a:t>
            </a:r>
          </a:p>
          <a:p>
            <a:r>
              <a:rPr lang="fr-FR" b="1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fr-FR" b="1" dirty="0">
                <a:solidFill>
                  <a:schemeClr val="tx1"/>
                </a:solidFill>
              </a:rPr>
              <a:t>Editorial corrections</a:t>
            </a:r>
          </a:p>
        </p:txBody>
      </p:sp>
      <p:sp>
        <p:nvSpPr>
          <p:cNvPr id="12" name="Flèche : droite 11">
            <a:extLst>
              <a:ext uri="{FF2B5EF4-FFF2-40B4-BE49-F238E27FC236}">
                <a16:creationId xmlns:a16="http://schemas.microsoft.com/office/drawing/2014/main" id="{A6C1DE4D-3142-2FF1-A85F-F74E1FD72DAE}"/>
              </a:ext>
            </a:extLst>
          </p:cNvPr>
          <p:cNvSpPr/>
          <p:nvPr/>
        </p:nvSpPr>
        <p:spPr>
          <a:xfrm rot="3371067">
            <a:off x="5271634" y="3608067"/>
            <a:ext cx="856274" cy="23820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lèche : droite 12">
            <a:extLst>
              <a:ext uri="{FF2B5EF4-FFF2-40B4-BE49-F238E27FC236}">
                <a16:creationId xmlns:a16="http://schemas.microsoft.com/office/drawing/2014/main" id="{1B8E138A-52EC-10C1-FED6-4031B6678158}"/>
              </a:ext>
            </a:extLst>
          </p:cNvPr>
          <p:cNvSpPr/>
          <p:nvPr/>
        </p:nvSpPr>
        <p:spPr>
          <a:xfrm>
            <a:off x="4515239" y="5024399"/>
            <a:ext cx="784862" cy="23820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Flèche : droite 13">
            <a:extLst>
              <a:ext uri="{FF2B5EF4-FFF2-40B4-BE49-F238E27FC236}">
                <a16:creationId xmlns:a16="http://schemas.microsoft.com/office/drawing/2014/main" id="{32AAD8F6-4CCC-6150-9C37-74DC44F007DF}"/>
              </a:ext>
            </a:extLst>
          </p:cNvPr>
          <p:cNvSpPr/>
          <p:nvPr/>
        </p:nvSpPr>
        <p:spPr>
          <a:xfrm>
            <a:off x="8346482" y="4043325"/>
            <a:ext cx="856274" cy="23820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Accolade fermante 14">
            <a:extLst>
              <a:ext uri="{FF2B5EF4-FFF2-40B4-BE49-F238E27FC236}">
                <a16:creationId xmlns:a16="http://schemas.microsoft.com/office/drawing/2014/main" id="{2709B510-4488-67CE-B675-3790C5039527}"/>
              </a:ext>
            </a:extLst>
          </p:cNvPr>
          <p:cNvSpPr/>
          <p:nvPr/>
        </p:nvSpPr>
        <p:spPr>
          <a:xfrm>
            <a:off x="7905750" y="1875333"/>
            <a:ext cx="304776" cy="455404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1726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C2174B0-794C-4460-BC29-5336BD041ABC}"/>
              </a:ext>
            </a:extLst>
          </p:cNvPr>
          <p:cNvSpPr txBox="1"/>
          <p:nvPr/>
        </p:nvSpPr>
        <p:spPr>
          <a:xfrm>
            <a:off x="3686175" y="2943225"/>
            <a:ext cx="33866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/>
              <a:t>   </a:t>
            </a:r>
            <a:r>
              <a:rPr lang="nb-NO" sz="4800" dirty="0" err="1"/>
              <a:t>Thank</a:t>
            </a:r>
            <a:r>
              <a:rPr lang="nb-NO" sz="4800" dirty="0"/>
              <a:t> </a:t>
            </a:r>
            <a:r>
              <a:rPr lang="nb-NO" sz="4800" dirty="0" err="1"/>
              <a:t>you</a:t>
            </a:r>
            <a:r>
              <a:rPr lang="nb-NO" sz="4800" dirty="0"/>
              <a:t>!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0C16C-9DF8-4992-8828-2A8863FB2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027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24BF41-9D8C-42D2-9C1A-059E5EC437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62FF2A7-D60C-4449-8199-0DC421187482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4b4a1c0d-4a69-4996-a84a-fc699b9f49de"/>
    <ds:schemaRef ds:uri="http://purl.org/dc/terms/"/>
    <ds:schemaRef ds:uri="acccb6d4-dbe5-46d2-b4d3-5733603d8cc6"/>
    <ds:schemaRef ds:uri="http://schemas.microsoft.com/office/2006/metadata/properties"/>
    <ds:schemaRef ds:uri="http://www.w3.org/XML/1998/namespace"/>
    <ds:schemaRef ds:uri="985ec44e-1bab-4c0b-9df0-6ba128686fc9"/>
  </ds:schemaRefs>
</ds:datastoreItem>
</file>

<file path=customXml/itemProps3.xml><?xml version="1.0" encoding="utf-8"?>
<ds:datastoreItem xmlns:ds="http://schemas.openxmlformats.org/officeDocument/2006/customXml" ds:itemID="{CE18F0FE-C82F-45C4-9E84-19E3F680AFC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f30fc12-c89a-4829-a476-5bf9e2086332}" enabled="1" method="Privileged" siteId="{d6b0bbee-7cd9-4d60-bce6-4a67b543e2a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245</TotalTime>
  <Words>141</Words>
  <Application>Microsoft Office PowerPoint</Application>
  <PresentationFormat>Widescreen</PresentationFormat>
  <Paragraphs>23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Folie</vt:lpstr>
      <vt:lpstr>GRBP/2023/12 &amp; GRBP-77-05 EXPLANATIONS</vt:lpstr>
      <vt:lpstr>Organisation of the documents for the Supplement 8 to the UN-R51-03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to GRBP 73rd session</dc:title>
  <dc:creator>Truls Berge</dc:creator>
  <cp:lastModifiedBy>secretariat</cp:lastModifiedBy>
  <cp:revision>64</cp:revision>
  <dcterms:created xsi:type="dcterms:W3CDTF">2021-01-13T10:15:45Z</dcterms:created>
  <dcterms:modified xsi:type="dcterms:W3CDTF">2023-02-07T08:4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3B8422D08C252547BB1CFA7F78E2CB83</vt:lpwstr>
  </property>
  <property fmtid="{D5CDD505-2E9C-101B-9397-08002B2CF9AE}" pid="4" name="MSIP_Label_a7f2ec83-e677-438d-afb7-4c7c0dbc872b_Enabled">
    <vt:lpwstr>True</vt:lpwstr>
  </property>
  <property fmtid="{D5CDD505-2E9C-101B-9397-08002B2CF9AE}" pid="5" name="MSIP_Label_a7f2ec83-e677-438d-afb7-4c7c0dbc872b_SiteId">
    <vt:lpwstr>3bc062e4-ac9d-4c17-b4dd-3aad637ff1ac</vt:lpwstr>
  </property>
  <property fmtid="{D5CDD505-2E9C-101B-9397-08002B2CF9AE}" pid="6" name="MSIP_Label_a7f2ec83-e677-438d-afb7-4c7c0dbc872b_Ref">
    <vt:lpwstr>https://api.informationprotection.azure.com/api/3bc062e4-ac9d-4c17-b4dd-3aad637ff1ac</vt:lpwstr>
  </property>
  <property fmtid="{D5CDD505-2E9C-101B-9397-08002B2CF9AE}" pid="7" name="MSIP_Label_a7f2ec83-e677-438d-afb7-4c7c0dbc872b_Owner">
    <vt:lpwstr>manfred.klopotek@scania.com</vt:lpwstr>
  </property>
  <property fmtid="{D5CDD505-2E9C-101B-9397-08002B2CF9AE}" pid="8" name="MSIP_Label_a7f2ec83-e677-438d-afb7-4c7c0dbc872b_SetDate">
    <vt:lpwstr>2021-01-17T11:50:37.9731108+01:00</vt:lpwstr>
  </property>
  <property fmtid="{D5CDD505-2E9C-101B-9397-08002B2CF9AE}" pid="9" name="MSIP_Label_a7f2ec83-e677-438d-afb7-4c7c0dbc872b_Name">
    <vt:lpwstr>Internal</vt:lpwstr>
  </property>
  <property fmtid="{D5CDD505-2E9C-101B-9397-08002B2CF9AE}" pid="10" name="MSIP_Label_a7f2ec83-e677-438d-afb7-4c7c0dbc872b_Application">
    <vt:lpwstr>Microsoft Azure Information Protection</vt:lpwstr>
  </property>
  <property fmtid="{D5CDD505-2E9C-101B-9397-08002B2CF9AE}" pid="11" name="MSIP_Label_a7f2ec83-e677-438d-afb7-4c7c0dbc872b_Extended_MSFT_Method">
    <vt:lpwstr>Automatic</vt:lpwstr>
  </property>
  <property fmtid="{D5CDD505-2E9C-101B-9397-08002B2CF9AE}" pid="12" name="_AdHocReviewCycleID">
    <vt:i4>-1516578487</vt:i4>
  </property>
  <property fmtid="{D5CDD505-2E9C-101B-9397-08002B2CF9AE}" pid="13" name="_EmailSubject">
    <vt:lpwstr>IWG MU Informal documents</vt:lpwstr>
  </property>
  <property fmtid="{D5CDD505-2E9C-101B-9397-08002B2CF9AE}" pid="14" name="_AuthorEmail">
    <vt:lpwstr>Truls.Berge@sintef.no</vt:lpwstr>
  </property>
  <property fmtid="{D5CDD505-2E9C-101B-9397-08002B2CF9AE}" pid="15" name="_AuthorEmailDisplayName">
    <vt:lpwstr>Truls Berge</vt:lpwstr>
  </property>
  <property fmtid="{D5CDD505-2E9C-101B-9397-08002B2CF9AE}" pid="16" name="_PreviousAdHocReviewCycleID">
    <vt:i4>-2071731573</vt:i4>
  </property>
  <property fmtid="{D5CDD505-2E9C-101B-9397-08002B2CF9AE}" pid="17" name="MSIP_Label_7f30fc12-c89a-4829-a476-5bf9e2086332_Enabled">
    <vt:lpwstr>true</vt:lpwstr>
  </property>
  <property fmtid="{D5CDD505-2E9C-101B-9397-08002B2CF9AE}" pid="18" name="MSIP_Label_7f30fc12-c89a-4829-a476-5bf9e2086332_SetDate">
    <vt:lpwstr>2022-02-07T21:14:47Z</vt:lpwstr>
  </property>
  <property fmtid="{D5CDD505-2E9C-101B-9397-08002B2CF9AE}" pid="19" name="MSIP_Label_7f30fc12-c89a-4829-a476-5bf9e2086332_Method">
    <vt:lpwstr>Privileged</vt:lpwstr>
  </property>
  <property fmtid="{D5CDD505-2E9C-101B-9397-08002B2CF9AE}" pid="20" name="MSIP_Label_7f30fc12-c89a-4829-a476-5bf9e2086332_Name">
    <vt:lpwstr>Not protected (Anyone)_0</vt:lpwstr>
  </property>
  <property fmtid="{D5CDD505-2E9C-101B-9397-08002B2CF9AE}" pid="21" name="MSIP_Label_7f30fc12-c89a-4829-a476-5bf9e2086332_SiteId">
    <vt:lpwstr>d6b0bbee-7cd9-4d60-bce6-4a67b543e2ae</vt:lpwstr>
  </property>
  <property fmtid="{D5CDD505-2E9C-101B-9397-08002B2CF9AE}" pid="22" name="MSIP_Label_7f30fc12-c89a-4829-a476-5bf9e2086332_ActionId">
    <vt:lpwstr>d1898330-ea71-47cb-8606-6008517635ed</vt:lpwstr>
  </property>
  <property fmtid="{D5CDD505-2E9C-101B-9397-08002B2CF9AE}" pid="23" name="MSIP_Label_7f30fc12-c89a-4829-a476-5bf9e2086332_ContentBits">
    <vt:lpwstr>0</vt:lpwstr>
  </property>
  <property fmtid="{D5CDD505-2E9C-101B-9397-08002B2CF9AE}" pid="24" name="Office_x0020_of_x0020_Origin">
    <vt:lpwstr/>
  </property>
  <property fmtid="{D5CDD505-2E9C-101B-9397-08002B2CF9AE}" pid="25" name="MediaServiceImageTags">
    <vt:lpwstr/>
  </property>
  <property fmtid="{D5CDD505-2E9C-101B-9397-08002B2CF9AE}" pid="26" name="gba66df640194346a5267c50f24d4797">
    <vt:lpwstr/>
  </property>
  <property fmtid="{D5CDD505-2E9C-101B-9397-08002B2CF9AE}" pid="27" name="Office of Origin">
    <vt:lpwstr/>
  </property>
</Properties>
</file>